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4"/>
  </p:sldMasterIdLst>
  <p:notesMasterIdLst>
    <p:notesMasterId r:id="rId6"/>
  </p:notesMasterIdLst>
  <p:sldIdLst>
    <p:sldId id="2147375949" r:id="rId5"/>
  </p:sldIdLst>
  <p:sldSz cx="12192000" cy="6858000"/>
  <p:notesSz cx="6858000" cy="9144000"/>
  <p:custDataLst>
    <p:tags r:id="rId7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C82F"/>
    <a:srgbClr val="008542"/>
    <a:srgbClr val="00B2A9"/>
    <a:srgbClr val="006298"/>
    <a:srgbClr val="C4D600"/>
    <a:srgbClr val="EBFF00"/>
    <a:srgbClr val="ED8B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1522" y="4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C55F20-9E5B-4855-B26B-B15856070393}" type="datetimeFigureOut">
              <a:rPr lang="pt-BR" smtClean="0"/>
              <a:t>17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8D6315-B045-4685-AF65-8D20FD8D1E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59835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3EF31D98-066B-4026-8862-D5804CDB23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337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6" progId="TCLayout.ActiveDocument.1">
                  <p:embed/>
                </p:oleObj>
              </mc:Choice>
              <mc:Fallback>
                <p:oleObj name="Slide do think-cell" r:id="rId3" imgW="395" imgH="396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3EF31D98-066B-4026-8862-D5804CDB2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2696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5C9C3C1-A297-3F8A-7086-DCB62E0CA6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93256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5C9C3C1-A297-3F8A-7086-DCB62E0CA6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3636105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3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9B5D19E1-CF32-83B4-3BF6-3D202CF144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69469"/>
            <a:ext cx="12192000" cy="692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533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C5&quot; g=&quot;41&quot; b=&quot;BB&quot;/&gt;&lt;/elem&gt;&lt;elem m_fUsage=&quot;9.00000000000000022204E-01&quot;&gt;&lt;m_msothmcolidx val=&quot;0&quot;/&gt;&lt;m_rgb r=&quot;B0&quot; g=&quot;BF&quot; b=&quot;00&quot;/&gt;&lt;/elem&gt;&lt;elem m_fUsage=&quot;8.10000000000000053291E-01&quot;&gt;&lt;m_msothmcolidx val=&quot;0&quot;/&gt;&lt;m_rgb r=&quot;FF&quot; g=&quot;70&quot; b=&quot;0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ff4b7e9-38cf-4918-bb6e-a09978cab92b">
      <Terms xmlns="http://schemas.microsoft.com/office/infopath/2007/PartnerControls"/>
    </lcf76f155ced4ddcb4097134ff3c332f>
    <TaxCatchAll xmlns="a8d36480-62a9-4893-833c-8019d26453b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0F51E9B3460234382039012A96CDAAD" ma:contentTypeVersion="16" ma:contentTypeDescription="Crie um novo documento." ma:contentTypeScope="" ma:versionID="3581532dace306cb4215e3bf6e2ad284">
  <xsd:schema xmlns:xsd="http://www.w3.org/2001/XMLSchema" xmlns:xs="http://www.w3.org/2001/XMLSchema" xmlns:p="http://schemas.microsoft.com/office/2006/metadata/properties" xmlns:ns2="9ff4b7e9-38cf-4918-bb6e-a09978cab92b" xmlns:ns3="a8d36480-62a9-4893-833c-8019d26453b0" targetNamespace="http://schemas.microsoft.com/office/2006/metadata/properties" ma:root="true" ma:fieldsID="60f185e265fc3e9f8a46b59500158179" ns2:_="" ns3:_="">
    <xsd:import namespace="9ff4b7e9-38cf-4918-bb6e-a09978cab92b"/>
    <xsd:import namespace="a8d36480-62a9-4893-833c-8019d26453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f4b7e9-38cf-4918-bb6e-a09978cab9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Marcações de imagem" ma:readOnly="false" ma:fieldId="{5cf76f15-5ced-4ddc-b409-7134ff3c332f}" ma:taxonomyMulti="true" ma:sspId="d566a8fd-94ed-4d49-8999-3a54f140f05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d36480-62a9-4893-833c-8019d26453b0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aae818a-58ff-4958-bcba-df71aea77166}" ma:internalName="TaxCatchAll" ma:showField="CatchAllData" ma:web="a8d36480-62a9-4893-833c-8019d26453b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7F4B50D-D801-41DB-8A40-21D329D991AC}">
  <ds:schemaRefs>
    <ds:schemaRef ds:uri="9ff4b7e9-38cf-4918-bb6e-a09978cab92b"/>
    <ds:schemaRef ds:uri="a8d36480-62a9-4893-833c-8019d26453b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EFA9889-3EB6-48C8-A8BE-925303A56BCD}">
  <ds:schemaRefs>
    <ds:schemaRef ds:uri="9ff4b7e9-38cf-4918-bb6e-a09978cab92b"/>
    <ds:schemaRef ds:uri="a8d36480-62a9-4893-833c-8019d26453b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B43B3B0-D495-4051-8E1C-7D05F3BC5C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3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5" baseType="lpstr">
      <vt:lpstr>Arial</vt:lpstr>
      <vt:lpstr>Calibri</vt:lpstr>
      <vt:lpstr>21_BasicWhite</vt:lpstr>
      <vt:lpstr>Slide do think-cell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gurança como valor —</dc:title>
  <dc:creator>Roberta Rose Sanches Muller</dc:creator>
  <cp:lastModifiedBy>Adair Bolsoni</cp:lastModifiedBy>
  <cp:revision>8</cp:revision>
  <dcterms:created xsi:type="dcterms:W3CDTF">2022-12-08T10:17:20Z</dcterms:created>
  <dcterms:modified xsi:type="dcterms:W3CDTF">2023-07-17T13:1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F51E9B3460234382039012A96CDAAD</vt:lpwstr>
  </property>
  <property fmtid="{D5CDD505-2E9C-101B-9397-08002B2CF9AE}" pid="3" name="MediaServiceImageTags">
    <vt:lpwstr/>
  </property>
  <property fmtid="{D5CDD505-2E9C-101B-9397-08002B2CF9AE}" pid="4" name="MSIP_Label_d5eb2d05-47c5-4b3e-9bd7-b47e03a10069_Enabled">
    <vt:lpwstr>true</vt:lpwstr>
  </property>
  <property fmtid="{D5CDD505-2E9C-101B-9397-08002B2CF9AE}" pid="5" name="MSIP_Label_d5eb2d05-47c5-4b3e-9bd7-b47e03a10069_SetDate">
    <vt:lpwstr>2023-01-04T19:57:49Z</vt:lpwstr>
  </property>
  <property fmtid="{D5CDD505-2E9C-101B-9397-08002B2CF9AE}" pid="6" name="MSIP_Label_d5eb2d05-47c5-4b3e-9bd7-b47e03a10069_Method">
    <vt:lpwstr>Privileged</vt:lpwstr>
  </property>
  <property fmtid="{D5CDD505-2E9C-101B-9397-08002B2CF9AE}" pid="7" name="MSIP_Label_d5eb2d05-47c5-4b3e-9bd7-b47e03a10069_Name">
    <vt:lpwstr>PETROBRAS Colaboradores</vt:lpwstr>
  </property>
  <property fmtid="{D5CDD505-2E9C-101B-9397-08002B2CF9AE}" pid="8" name="MSIP_Label_d5eb2d05-47c5-4b3e-9bd7-b47e03a10069_SiteId">
    <vt:lpwstr>5b6f6241-9a57-4be4-8e50-1dfa72e79a57</vt:lpwstr>
  </property>
  <property fmtid="{D5CDD505-2E9C-101B-9397-08002B2CF9AE}" pid="9" name="MSIP_Label_d5eb2d05-47c5-4b3e-9bd7-b47e03a10069_ActionId">
    <vt:lpwstr>c8771121-4e4a-4c00-a024-735e6700752c</vt:lpwstr>
  </property>
  <property fmtid="{D5CDD505-2E9C-101B-9397-08002B2CF9AE}" pid="10" name="MSIP_Label_d5eb2d05-47c5-4b3e-9bd7-b47e03a10069_ContentBits">
    <vt:lpwstr>2</vt:lpwstr>
  </property>
</Properties>
</file>